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35465445799004E-2"/>
          <c:y val="0"/>
          <c:w val="0.88550052578048233"/>
          <c:h val="0.812879701642365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 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</c:v>
                </c:pt>
                <c:pt idx="1">
                  <c:v>37</c:v>
                </c:pt>
                <c:pt idx="2">
                  <c:v>26</c:v>
                </c:pt>
                <c:pt idx="3">
                  <c:v>22</c:v>
                </c:pt>
                <c:pt idx="4">
                  <c:v>15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B77-496A-9CEB-38BD93A09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0</c:v>
                </c:pt>
                <c:pt idx="1">
                  <c:v>28</c:v>
                </c:pt>
                <c:pt idx="2">
                  <c:v>24</c:v>
                </c:pt>
                <c:pt idx="3">
                  <c:v>21</c:v>
                </c:pt>
                <c:pt idx="4">
                  <c:v>15</c:v>
                </c:pt>
                <c:pt idx="5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B77-496A-9CEB-38BD93A09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ert Text Here 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5</c:v>
                </c:pt>
                <c:pt idx="1">
                  <c:v>35</c:v>
                </c:pt>
                <c:pt idx="2">
                  <c:v>50</c:v>
                </c:pt>
                <c:pt idx="3">
                  <c:v>57</c:v>
                </c:pt>
                <c:pt idx="4">
                  <c:v>69</c:v>
                </c:pt>
                <c:pt idx="5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BB77-496A-9CEB-38BD93A09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642994959"/>
        <c:axId val="231303903"/>
      </c:barChart>
      <c:catAx>
        <c:axId val="16429949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303903"/>
        <c:crosses val="autoZero"/>
        <c:auto val="1"/>
        <c:lblAlgn val="ctr"/>
        <c:lblOffset val="100"/>
        <c:noMultiLvlLbl val="0"/>
      </c:catAx>
      <c:valAx>
        <c:axId val="231303903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64299495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ADE3E-A79C-5A5C-6696-A2A507414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A6944AF-82FD-82A6-B008-AA5371FD10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6944AF-82FD-82A6-B008-AA5371FD1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697B11-BCC0-CB76-A8DD-6BDB4E4C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D999B03-B943-34CF-4BBB-1E293A49AAE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BBBFA37-08AA-3D49-6ADD-6201A525EF90}"/>
              </a:ext>
            </a:extLst>
          </p:cNvPr>
          <p:cNvGraphicFramePr>
            <a:graphicFrameLocks/>
          </p:cNvGraphicFramePr>
          <p:nvPr/>
        </p:nvGraphicFramePr>
        <p:xfrm>
          <a:off x="419099" y="978622"/>
          <a:ext cx="10667386" cy="5046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56841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3</cp:revision>
  <dcterms:created xsi:type="dcterms:W3CDTF">2021-03-31T02:49:57Z</dcterms:created>
  <dcterms:modified xsi:type="dcterms:W3CDTF">2025-10-16T11:33:35Z</dcterms:modified>
  <cp:category/>
</cp:coreProperties>
</file>